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492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2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08F-4F1D-BCE2-3B31BF62E392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2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08F-4F1D-BCE2-3B31BF62E392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2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808F-4F1D-BCE2-3B31BF62E39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15</c:v>
                </c:pt>
                <c:pt idx="1">
                  <c:v>0.2</c:v>
                </c:pt>
                <c:pt idx="2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808F-4F1D-BCE2-3B31BF62E3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 w="25359">
          <a:noFill/>
        </a:ln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5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34B-448E-8C4A-17466389C21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34B-448E-8C4A-17466389C21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34B-448E-8C4A-17466389C21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286200640"/>
        <c:axId val="286198240"/>
      </c:barChart>
      <c:catAx>
        <c:axId val="2862006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86198240"/>
        <c:crosses val="autoZero"/>
        <c:auto val="1"/>
        <c:lblAlgn val="ctr"/>
        <c:lblOffset val="100"/>
        <c:noMultiLvlLbl val="0"/>
      </c:catAx>
      <c:valAx>
        <c:axId val="28619824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862006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13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210A231-DB5E-9523-F358-D7B9B9BE4C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0FC847B-9647-3AFE-7FE0-72C71E5FF6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0FC847B-9647-3AFE-7FE0-72C71E5FF6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itle 1">
            <a:extLst>
              <a:ext uri="{FF2B5EF4-FFF2-40B4-BE49-F238E27FC236}">
                <a16:creationId xmlns:a16="http://schemas.microsoft.com/office/drawing/2014/main" id="{ACE2A5C7-366C-D9B8-1E33-574DA9CD3E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Doughnut / Clustered Column</a:t>
            </a:r>
            <a:endParaRPr lang="en-IN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B467C431-FAFD-C312-42D7-0D4A742873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1</a:t>
            </a:fld>
            <a:endParaRPr lang="en-IN"/>
          </a:p>
        </p:txBody>
      </p:sp>
      <p:sp>
        <p:nvSpPr>
          <p:cNvPr id="12" name="Text Placeholder 35">
            <a:extLst>
              <a:ext uri="{FF2B5EF4-FFF2-40B4-BE49-F238E27FC236}">
                <a16:creationId xmlns:a16="http://schemas.microsoft.com/office/drawing/2014/main" id="{6BBDCB50-8FD6-7F7D-6C2C-7D86C9DEAC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/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0405471-38D5-CA40-952A-0D153F00AF9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C5355047-6E47-CE16-B575-2DCFE280EFA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graphicFrame>
        <p:nvGraphicFramePr>
          <p:cNvPr id="5" name="Chart 32">
            <a:extLst>
              <a:ext uri="{FF2B5EF4-FFF2-40B4-BE49-F238E27FC236}">
                <a16:creationId xmlns:a16="http://schemas.microsoft.com/office/drawing/2014/main" id="{43A1E67B-AD0B-1DBE-38F9-E4EECE17A45A}"/>
              </a:ext>
            </a:extLst>
          </p:cNvPr>
          <p:cNvGraphicFramePr>
            <a:graphicFrameLocks noGrp="1"/>
          </p:cNvGraphicFramePr>
          <p:nvPr>
            <p:ph type="chart" sz="quarter" idx="14"/>
          </p:nvPr>
        </p:nvGraphicFramePr>
        <p:xfrm>
          <a:off x="554038" y="1720850"/>
          <a:ext cx="5245100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7" name="Chart Placeholder 6">
            <a:extLst>
              <a:ext uri="{FF2B5EF4-FFF2-40B4-BE49-F238E27FC236}">
                <a16:creationId xmlns:a16="http://schemas.microsoft.com/office/drawing/2014/main" id="{46679E8F-C255-5ACB-3667-11FF75BB3F1B}"/>
              </a:ext>
            </a:extLst>
          </p:cNvPr>
          <p:cNvGraphicFramePr>
            <a:graphicFrameLocks noGrp="1"/>
          </p:cNvGraphicFramePr>
          <p:nvPr>
            <p:ph type="chart" sz="quarter" idx="17"/>
          </p:nvPr>
        </p:nvGraphicFramePr>
        <p:xfrm>
          <a:off x="6392863" y="1720850"/>
          <a:ext cx="5245100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70781328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14</TotalTime>
  <Words>22</Words>
  <Application>Microsoft Office PowerPoint</Application>
  <PresentationFormat>Widescreen</PresentationFormat>
  <Paragraphs>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Doughnut / Clustered Colum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263</cp:revision>
  <dcterms:created xsi:type="dcterms:W3CDTF">2025-07-09T10:57:17Z</dcterms:created>
  <dcterms:modified xsi:type="dcterms:W3CDTF">2025-10-22T10:09:25Z</dcterms:modified>
  <cp:category/>
</cp:coreProperties>
</file>